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sldIdLst>
    <p:sldId id="454" r:id="rId5"/>
    <p:sldId id="267" r:id="rId6"/>
    <p:sldId id="2147481504" r:id="rId7"/>
    <p:sldId id="2147481500" r:id="rId8"/>
    <p:sldId id="2147481503" r:id="rId9"/>
    <p:sldId id="2147481505" r:id="rId10"/>
    <p:sldId id="2147481501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285F3C-24CF-DF28-3987-F5C5C24465C4}" name="Daniel Maksimovic" initials="DM" userId="S::daniel.maksimovic@eraneos.com::86954d35-1b5d-4ab2-a237-827007b45313" providerId="AD"/>
  <p188:author id="{3D76BF99-55FF-9DAA-7A77-416DBA19C73B}" name="Andreas Quadt" initials="AQ" userId="S::andreas.quadt@eraneos.com::cf97e480-f2e1-4cec-9309-44ed919ead2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276E5C-826C-A247-ABD8-90803BD467CD}" v="25" dt="2025-10-31T22:44:45.0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23" autoAdjust="0"/>
    <p:restoredTop sz="75035" autoAdjust="0"/>
  </p:normalViewPr>
  <p:slideViewPr>
    <p:cSldViewPr snapToGrid="0" showGuides="1">
      <p:cViewPr varScale="1">
        <p:scale>
          <a:sx n="90" d="100"/>
          <a:sy n="90" d="100"/>
        </p:scale>
        <p:origin x="163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1184"/>
    </p:cViewPr>
  </p:sorterViewPr>
  <p:notesViewPr>
    <p:cSldViewPr snapToGrid="0" showGuides="1">
      <p:cViewPr varScale="1">
        <p:scale>
          <a:sx n="78" d="100"/>
          <a:sy n="78" d="100"/>
        </p:scale>
        <p:origin x="3168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Maksimovic" userId="6e84ee56-fc61-4bd6-88a4-a72f8ea4d746" providerId="ADAL" clId="{B8D13F6A-44F4-5BFC-B69B-DD1182077483}"/>
    <pc:docChg chg="undo custSel delSld modSld">
      <pc:chgData name="Daniel Maksimovic" userId="6e84ee56-fc61-4bd6-88a4-a72f8ea4d746" providerId="ADAL" clId="{B8D13F6A-44F4-5BFC-B69B-DD1182077483}" dt="2025-10-31T22:44:46.685" v="63" actId="478"/>
      <pc:docMkLst>
        <pc:docMk/>
      </pc:docMkLst>
      <pc:sldChg chg="addSp delSp modSp mod">
        <pc:chgData name="Daniel Maksimovic" userId="6e84ee56-fc61-4bd6-88a4-a72f8ea4d746" providerId="ADAL" clId="{B8D13F6A-44F4-5BFC-B69B-DD1182077483}" dt="2025-10-31T22:44:45.956" v="62" actId="1076"/>
        <pc:sldMkLst>
          <pc:docMk/>
          <pc:sldMk cId="1521260007" sldId="267"/>
        </pc:sldMkLst>
        <pc:picChg chg="mod">
          <ac:chgData name="Daniel Maksimovic" userId="6e84ee56-fc61-4bd6-88a4-a72f8ea4d746" providerId="ADAL" clId="{B8D13F6A-44F4-5BFC-B69B-DD1182077483}" dt="2025-10-31T22:42:09.681" v="25" actId="167"/>
          <ac:picMkLst>
            <pc:docMk/>
            <pc:sldMk cId="1521260007" sldId="267"/>
            <ac:picMk id="5" creationId="{BD4A6104-A403-4442-09B3-46FC2B63997B}"/>
          </ac:picMkLst>
        </pc:picChg>
        <pc:picChg chg="add del mod">
          <ac:chgData name="Daniel Maksimovic" userId="6e84ee56-fc61-4bd6-88a4-a72f8ea4d746" providerId="ADAL" clId="{B8D13F6A-44F4-5BFC-B69B-DD1182077483}" dt="2025-10-31T22:44:45.956" v="62" actId="1076"/>
          <ac:picMkLst>
            <pc:docMk/>
            <pc:sldMk cId="1521260007" sldId="267"/>
            <ac:picMk id="7" creationId="{FC8074C2-B4AD-5298-AAE8-A74B9C28BB03}"/>
          </ac:picMkLst>
        </pc:picChg>
        <pc:picChg chg="add mod">
          <ac:chgData name="Daniel Maksimovic" userId="6e84ee56-fc61-4bd6-88a4-a72f8ea4d746" providerId="ADAL" clId="{B8D13F6A-44F4-5BFC-B69B-DD1182077483}" dt="2025-10-31T22:44:27.462" v="57"/>
          <ac:picMkLst>
            <pc:docMk/>
            <pc:sldMk cId="1521260007" sldId="267"/>
            <ac:picMk id="8" creationId="{648BF621-C5B8-9D0E-E888-8A4590CF79C1}"/>
          </ac:picMkLst>
        </pc:picChg>
      </pc:sldChg>
      <pc:sldChg chg="addSp delSp modSp mod">
        <pc:chgData name="Daniel Maksimovic" userId="6e84ee56-fc61-4bd6-88a4-a72f8ea4d746" providerId="ADAL" clId="{B8D13F6A-44F4-5BFC-B69B-DD1182077483}" dt="2025-10-31T22:44:46.685" v="63" actId="478"/>
        <pc:sldMkLst>
          <pc:docMk/>
          <pc:sldMk cId="3632019886" sldId="454"/>
        </pc:sldMkLst>
        <pc:spChg chg="mod">
          <ac:chgData name="Daniel Maksimovic" userId="6e84ee56-fc61-4bd6-88a4-a72f8ea4d746" providerId="ADAL" clId="{B8D13F6A-44F4-5BFC-B69B-DD1182077483}" dt="2025-10-31T22:44:43.139" v="59" actId="207"/>
          <ac:spMkLst>
            <pc:docMk/>
            <pc:sldMk cId="3632019886" sldId="454"/>
            <ac:spMk id="4" creationId="{022D619B-2BB5-308A-DBEB-81D918C688BD}"/>
          </ac:spMkLst>
        </pc:spChg>
        <pc:spChg chg="add del mod">
          <ac:chgData name="Daniel Maksimovic" userId="6e84ee56-fc61-4bd6-88a4-a72f8ea4d746" providerId="ADAL" clId="{B8D13F6A-44F4-5BFC-B69B-DD1182077483}" dt="2025-10-31T22:44:46.685" v="63" actId="478"/>
          <ac:spMkLst>
            <pc:docMk/>
            <pc:sldMk cId="3632019886" sldId="454"/>
            <ac:spMk id="10" creationId="{4C46848C-0D8F-13F0-99D4-61DA2B4A45B3}"/>
          </ac:spMkLst>
        </pc:spChg>
        <pc:spChg chg="add del mod">
          <ac:chgData name="Daniel Maksimovic" userId="6e84ee56-fc61-4bd6-88a4-a72f8ea4d746" providerId="ADAL" clId="{B8D13F6A-44F4-5BFC-B69B-DD1182077483}" dt="2025-10-31T22:43:12.931" v="38" actId="478"/>
          <ac:spMkLst>
            <pc:docMk/>
            <pc:sldMk cId="3632019886" sldId="454"/>
            <ac:spMk id="13" creationId="{072DC352-724E-0B43-E77A-6547FAB0EB80}"/>
          </ac:spMkLst>
        </pc:spChg>
        <pc:spChg chg="add mod">
          <ac:chgData name="Daniel Maksimovic" userId="6e84ee56-fc61-4bd6-88a4-a72f8ea4d746" providerId="ADAL" clId="{B8D13F6A-44F4-5BFC-B69B-DD1182077483}" dt="2025-10-31T22:44:15.380" v="54"/>
          <ac:spMkLst>
            <pc:docMk/>
            <pc:sldMk cId="3632019886" sldId="454"/>
            <ac:spMk id="17" creationId="{4DCA74E9-A806-887B-ED18-64FAFBBAB186}"/>
          </ac:spMkLst>
        </pc:spChg>
        <pc:picChg chg="add mod">
          <ac:chgData name="Daniel Maksimovic" userId="6e84ee56-fc61-4bd6-88a4-a72f8ea4d746" providerId="ADAL" clId="{B8D13F6A-44F4-5BFC-B69B-DD1182077483}" dt="2025-10-31T22:40:59.614" v="6"/>
          <ac:picMkLst>
            <pc:docMk/>
            <pc:sldMk cId="3632019886" sldId="454"/>
            <ac:picMk id="5" creationId="{644A7B99-7FA6-3634-A12A-1F07CE42A22A}"/>
          </ac:picMkLst>
        </pc:picChg>
        <pc:picChg chg="add mod">
          <ac:chgData name="Daniel Maksimovic" userId="6e84ee56-fc61-4bd6-88a4-a72f8ea4d746" providerId="ADAL" clId="{B8D13F6A-44F4-5BFC-B69B-DD1182077483}" dt="2025-10-31T22:41:06.330" v="10"/>
          <ac:picMkLst>
            <pc:docMk/>
            <pc:sldMk cId="3632019886" sldId="454"/>
            <ac:picMk id="7" creationId="{6ED3B484-A73E-BB12-2230-89347EF849E3}"/>
          </ac:picMkLst>
        </pc:picChg>
        <pc:picChg chg="add del mod">
          <ac:chgData name="Daniel Maksimovic" userId="6e84ee56-fc61-4bd6-88a4-a72f8ea4d746" providerId="ADAL" clId="{B8D13F6A-44F4-5BFC-B69B-DD1182077483}" dt="2025-10-31T22:43:14.571" v="40"/>
          <ac:picMkLst>
            <pc:docMk/>
            <pc:sldMk cId="3632019886" sldId="454"/>
            <ac:picMk id="11" creationId="{E8ED91CD-7855-C76A-76B3-8A3195B92570}"/>
          </ac:picMkLst>
        </pc:picChg>
        <pc:picChg chg="add mod">
          <ac:chgData name="Daniel Maksimovic" userId="6e84ee56-fc61-4bd6-88a4-a72f8ea4d746" providerId="ADAL" clId="{B8D13F6A-44F4-5BFC-B69B-DD1182077483}" dt="2025-10-31T22:43:37.457" v="47"/>
          <ac:picMkLst>
            <pc:docMk/>
            <pc:sldMk cId="3632019886" sldId="454"/>
            <ac:picMk id="16" creationId="{731EF516-32B1-9C3F-93A0-2BAE02E494F3}"/>
          </ac:picMkLst>
        </pc:picChg>
      </pc:sldChg>
      <pc:sldChg chg="addSp modSp del">
        <pc:chgData name="Daniel Maksimovic" userId="6e84ee56-fc61-4bd6-88a4-a72f8ea4d746" providerId="ADAL" clId="{B8D13F6A-44F4-5BFC-B69B-DD1182077483}" dt="2025-10-31T22:43:56.614" v="49" actId="2696"/>
        <pc:sldMkLst>
          <pc:docMk/>
          <pc:sldMk cId="1972362577" sldId="2147481499"/>
        </pc:sldMkLst>
        <pc:picChg chg="add mod">
          <ac:chgData name="Daniel Maksimovic" userId="6e84ee56-fc61-4bd6-88a4-a72f8ea4d746" providerId="ADAL" clId="{B8D13F6A-44F4-5BFC-B69B-DD1182077483}" dt="2025-10-31T22:41:28.349" v="17"/>
          <ac:picMkLst>
            <pc:docMk/>
            <pc:sldMk cId="1972362577" sldId="2147481499"/>
            <ac:picMk id="10" creationId="{B8DEF137-6BA0-2F87-5D3F-B8EC6217E40C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2:16.311" v="26" actId="167"/>
        <pc:sldMkLst>
          <pc:docMk/>
          <pc:sldMk cId="739177708" sldId="2147481500"/>
        </pc:sldMkLst>
        <pc:picChg chg="mod">
          <ac:chgData name="Daniel Maksimovic" userId="6e84ee56-fc61-4bd6-88a4-a72f8ea4d746" providerId="ADAL" clId="{B8D13F6A-44F4-5BFC-B69B-DD1182077483}" dt="2025-10-31T22:42:16.311" v="26" actId="167"/>
          <ac:picMkLst>
            <pc:docMk/>
            <pc:sldMk cId="739177708" sldId="2147481500"/>
            <ac:picMk id="5" creationId="{236DE760-A238-7B0D-F634-EEA239612634}"/>
          </ac:picMkLst>
        </pc:picChg>
        <pc:picChg chg="add mod">
          <ac:chgData name="Daniel Maksimovic" userId="6e84ee56-fc61-4bd6-88a4-a72f8ea4d746" providerId="ADAL" clId="{B8D13F6A-44F4-5BFC-B69B-DD1182077483}" dt="2025-10-31T22:41:29.317" v="18"/>
          <ac:picMkLst>
            <pc:docMk/>
            <pc:sldMk cId="739177708" sldId="2147481500"/>
            <ac:picMk id="7" creationId="{4CBD9753-4799-DE62-76AF-6BD9CED6DA27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1:33.016" v="21"/>
        <pc:sldMkLst>
          <pc:docMk/>
          <pc:sldMk cId="4176299643" sldId="2147481501"/>
        </pc:sldMkLst>
        <pc:picChg chg="add mod">
          <ac:chgData name="Daniel Maksimovic" userId="6e84ee56-fc61-4bd6-88a4-a72f8ea4d746" providerId="ADAL" clId="{B8D13F6A-44F4-5BFC-B69B-DD1182077483}" dt="2025-10-31T22:41:33.016" v="21"/>
          <ac:picMkLst>
            <pc:docMk/>
            <pc:sldMk cId="4176299643" sldId="2147481501"/>
            <ac:picMk id="4" creationId="{B555F5CF-0941-507C-B772-BE8373D7BFDF}"/>
          </ac:picMkLst>
        </pc:picChg>
      </pc:sldChg>
      <pc:sldChg chg="addSp modSp">
        <pc:chgData name="Daniel Maksimovic" userId="6e84ee56-fc61-4bd6-88a4-a72f8ea4d746" providerId="ADAL" clId="{B8D13F6A-44F4-5BFC-B69B-DD1182077483}" dt="2025-10-31T22:42:20.165" v="27" actId="167"/>
        <pc:sldMkLst>
          <pc:docMk/>
          <pc:sldMk cId="809625895" sldId="2147481503"/>
        </pc:sldMkLst>
        <pc:picChg chg="add mod">
          <ac:chgData name="Daniel Maksimovic" userId="6e84ee56-fc61-4bd6-88a4-a72f8ea4d746" providerId="ADAL" clId="{B8D13F6A-44F4-5BFC-B69B-DD1182077483}" dt="2025-10-31T22:41:30.190" v="19"/>
          <ac:picMkLst>
            <pc:docMk/>
            <pc:sldMk cId="809625895" sldId="2147481503"/>
            <ac:picMk id="4" creationId="{11F41C67-A383-7D76-418F-9D54668FF8AE}"/>
          </ac:picMkLst>
        </pc:picChg>
        <pc:picChg chg="mod">
          <ac:chgData name="Daniel Maksimovic" userId="6e84ee56-fc61-4bd6-88a4-a72f8ea4d746" providerId="ADAL" clId="{B8D13F6A-44F4-5BFC-B69B-DD1182077483}" dt="2025-10-31T22:42:20.165" v="27" actId="167"/>
          <ac:picMkLst>
            <pc:docMk/>
            <pc:sldMk cId="809625895" sldId="2147481503"/>
            <ac:picMk id="5" creationId="{7EA624B4-0F84-4151-56BB-87677770B7EF}"/>
          </ac:picMkLst>
        </pc:picChg>
      </pc:sldChg>
      <pc:sldChg chg="addSp modSp mod">
        <pc:chgData name="Daniel Maksimovic" userId="6e84ee56-fc61-4bd6-88a4-a72f8ea4d746" providerId="ADAL" clId="{B8D13F6A-44F4-5BFC-B69B-DD1182077483}" dt="2025-10-31T22:42:03.822" v="24" actId="207"/>
        <pc:sldMkLst>
          <pc:docMk/>
          <pc:sldMk cId="4054526119" sldId="2147481504"/>
        </pc:sldMkLst>
        <pc:spChg chg="mod">
          <ac:chgData name="Daniel Maksimovic" userId="6e84ee56-fc61-4bd6-88a4-a72f8ea4d746" providerId="ADAL" clId="{B8D13F6A-44F4-5BFC-B69B-DD1182077483}" dt="2025-10-31T22:42:03.822" v="24" actId="207"/>
          <ac:spMkLst>
            <pc:docMk/>
            <pc:sldMk cId="4054526119" sldId="2147481504"/>
            <ac:spMk id="3" creationId="{959F72A0-CF77-55C3-8CAC-69F57855DF13}"/>
          </ac:spMkLst>
        </pc:spChg>
        <pc:picChg chg="add mod">
          <ac:chgData name="Daniel Maksimovic" userId="6e84ee56-fc61-4bd6-88a4-a72f8ea4d746" providerId="ADAL" clId="{B8D13F6A-44F4-5BFC-B69B-DD1182077483}" dt="2025-10-31T22:41:21.173" v="16"/>
          <ac:picMkLst>
            <pc:docMk/>
            <pc:sldMk cId="4054526119" sldId="2147481504"/>
            <ac:picMk id="4" creationId="{DC8667C7-0EAD-95F6-B479-D56543B9C7B2}"/>
          </ac:picMkLst>
        </pc:picChg>
        <pc:picChg chg="mod">
          <ac:chgData name="Daniel Maksimovic" userId="6e84ee56-fc61-4bd6-88a4-a72f8ea4d746" providerId="ADAL" clId="{B8D13F6A-44F4-5BFC-B69B-DD1182077483}" dt="2025-10-31T22:41:57.491" v="23" actId="167"/>
          <ac:picMkLst>
            <pc:docMk/>
            <pc:sldMk cId="4054526119" sldId="2147481504"/>
            <ac:picMk id="8" creationId="{A247F5D9-D0E9-F346-89FB-31AAA032C351}"/>
          </ac:picMkLst>
        </pc:picChg>
      </pc:sldChg>
      <pc:sldChg chg="addSp modSp mod">
        <pc:chgData name="Daniel Maksimovic" userId="6e84ee56-fc61-4bd6-88a4-a72f8ea4d746" providerId="ADAL" clId="{B8D13F6A-44F4-5BFC-B69B-DD1182077483}" dt="2025-10-31T22:42:26.478" v="29" actId="207"/>
        <pc:sldMkLst>
          <pc:docMk/>
          <pc:sldMk cId="3781518165" sldId="2147481505"/>
        </pc:sldMkLst>
        <pc:spChg chg="mod">
          <ac:chgData name="Daniel Maksimovic" userId="6e84ee56-fc61-4bd6-88a4-a72f8ea4d746" providerId="ADAL" clId="{B8D13F6A-44F4-5BFC-B69B-DD1182077483}" dt="2025-10-31T22:42:26.478" v="29" actId="207"/>
          <ac:spMkLst>
            <pc:docMk/>
            <pc:sldMk cId="3781518165" sldId="2147481505"/>
            <ac:spMk id="3" creationId="{09EBEABA-E170-7A7E-56C0-A4639563A5FE}"/>
          </ac:spMkLst>
        </pc:spChg>
        <pc:picChg chg="add mod">
          <ac:chgData name="Daniel Maksimovic" userId="6e84ee56-fc61-4bd6-88a4-a72f8ea4d746" providerId="ADAL" clId="{B8D13F6A-44F4-5BFC-B69B-DD1182077483}" dt="2025-10-31T22:41:30.923" v="20"/>
          <ac:picMkLst>
            <pc:docMk/>
            <pc:sldMk cId="3781518165" sldId="2147481505"/>
            <ac:picMk id="4" creationId="{B9F718A4-C210-E2C4-7C44-59AF54147D6B}"/>
          </ac:picMkLst>
        </pc:picChg>
        <pc:picChg chg="mod">
          <ac:chgData name="Daniel Maksimovic" userId="6e84ee56-fc61-4bd6-88a4-a72f8ea4d746" providerId="ADAL" clId="{B8D13F6A-44F4-5BFC-B69B-DD1182077483}" dt="2025-10-31T22:42:23.701" v="28" actId="167"/>
          <ac:picMkLst>
            <pc:docMk/>
            <pc:sldMk cId="3781518165" sldId="2147481505"/>
            <ac:picMk id="5" creationId="{4B939BE8-C982-CFF1-E2DE-66C787D88848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738DD83-84C6-4DC1-811B-50A2AE8E5057}" type="datetimeFigureOut">
              <a:rPr lang="de-CH" smtClean="0"/>
              <a:pPr/>
              <a:t>01.11.25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5C335AD7-64B1-49B1-980C-44DF07491695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02912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01652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5058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1F005-D102-195A-FFA8-EB55E58D7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921E54-52EE-30E4-D4A6-5BDEF3FD7D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8F4114-6538-CAFE-721E-CDA318FA2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05B7B-3F30-0A45-EE96-8CFC8B53C1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63327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CFE42-EAB5-58F0-4331-4E15FD2F2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CE4F5D-CF65-0BC9-6AC8-F8C34CA510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CA4517-6DD2-9481-FD75-39BC7BF22E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DEDA5-8450-1B37-68E9-3C29B461C7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63279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7FCE6-FF5E-A63D-DB55-9D270759A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7DA7EA-C4F0-13BC-7732-E1CF33CECD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8E7719-01B9-C1CC-D3AD-75B4A5D2D2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7F396B-50AC-E842-D9EE-B82405877A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58691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D19CE9-67CA-D7F4-86C5-F441A48DEF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65B176-7686-6988-5164-6B7A51E335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42FC42-D9D1-FB11-AF43-E25AF20A0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Hours </a:t>
            </a:r>
            <a:r>
              <a:rPr lang="de-CH" dirty="0" err="1"/>
              <a:t>later</a:t>
            </a:r>
            <a:r>
              <a:rPr lang="de-CH" dirty="0"/>
              <a:t>, </a:t>
            </a:r>
            <a:r>
              <a:rPr lang="de-CH" dirty="0" err="1"/>
              <a:t>families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shelter</a:t>
            </a:r>
            <a:r>
              <a:rPr lang="de-CH" dirty="0"/>
              <a:t>,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logistic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 </a:t>
            </a:r>
            <a:r>
              <a:rPr lang="de-CH" dirty="0" err="1"/>
              <a:t>has</a:t>
            </a:r>
            <a:r>
              <a:rPr lang="de-CH" dirty="0"/>
              <a:t> </a:t>
            </a:r>
            <a:r>
              <a:rPr lang="de-CH" dirty="0" err="1"/>
              <a:t>clarity</a:t>
            </a:r>
            <a:r>
              <a:rPr lang="de-CH" dirty="0"/>
              <a:t>, and Anna —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irst</a:t>
            </a:r>
            <a:r>
              <a:rPr lang="de-CH" dirty="0"/>
              <a:t> time — </a:t>
            </a:r>
            <a:r>
              <a:rPr lang="de-CH" dirty="0" err="1"/>
              <a:t>breathes</a:t>
            </a:r>
            <a:r>
              <a:rPr lang="de-CH" dirty="0"/>
              <a:t> out.</a:t>
            </a:r>
          </a:p>
          <a:p>
            <a:endParaRPr lang="de-CH" dirty="0"/>
          </a:p>
          <a:p>
            <a:r>
              <a:rPr lang="de-CH" dirty="0" err="1"/>
              <a:t>StockHub</a:t>
            </a:r>
            <a:r>
              <a:rPr lang="de-CH" dirty="0"/>
              <a:t> </a:t>
            </a:r>
            <a:r>
              <a:rPr lang="de-CH" dirty="0" err="1"/>
              <a:t>turned</a:t>
            </a:r>
            <a:r>
              <a:rPr lang="de-CH" dirty="0"/>
              <a:t>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a </a:t>
            </a:r>
            <a:r>
              <a:rPr lang="de-CH" dirty="0" err="1"/>
              <a:t>guessing</a:t>
            </a:r>
            <a:r>
              <a:rPr lang="de-CH" dirty="0"/>
              <a:t> game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synchronized</a:t>
            </a:r>
            <a:r>
              <a:rPr lang="de-CH" dirty="0"/>
              <a:t> </a:t>
            </a:r>
            <a:r>
              <a:rPr lang="de-CH" dirty="0" err="1"/>
              <a:t>system</a:t>
            </a:r>
            <a:r>
              <a:rPr lang="de-CH" dirty="0"/>
              <a:t>.</a:t>
            </a:r>
            <a:br>
              <a:rPr lang="de-CH" dirty="0"/>
            </a:br>
            <a:endParaRPr lang="de-CH" dirty="0"/>
          </a:p>
          <a:p>
            <a:r>
              <a:rPr lang="de-CH" dirty="0" err="1"/>
              <a:t>It</a:t>
            </a:r>
            <a:r>
              <a:rPr lang="de-CH" dirty="0"/>
              <a:t> </a:t>
            </a:r>
            <a:r>
              <a:rPr lang="de-CH" dirty="0" err="1"/>
              <a:t>gave</a:t>
            </a:r>
            <a:r>
              <a:rPr lang="de-CH" dirty="0"/>
              <a:t> Anna </a:t>
            </a:r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every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needs</a:t>
            </a:r>
            <a:r>
              <a:rPr lang="de-CH" dirty="0"/>
              <a:t> in a </a:t>
            </a:r>
            <a:r>
              <a:rPr lang="de-CH" dirty="0" err="1"/>
              <a:t>crisis</a:t>
            </a:r>
            <a:r>
              <a:rPr lang="de-CH" dirty="0"/>
              <a:t>: </a:t>
            </a:r>
            <a:r>
              <a:rPr lang="de-CH" b="1" dirty="0" err="1"/>
              <a:t>control</a:t>
            </a:r>
            <a:r>
              <a:rPr lang="de-CH" b="1" dirty="0"/>
              <a:t>, </a:t>
            </a:r>
            <a:r>
              <a:rPr lang="de-CH" b="1" dirty="0" err="1"/>
              <a:t>speed</a:t>
            </a:r>
            <a:r>
              <a:rPr lang="de-CH" b="1" dirty="0"/>
              <a:t>, and </a:t>
            </a:r>
            <a:r>
              <a:rPr lang="de-CH" b="1" dirty="0" err="1"/>
              <a:t>trust</a:t>
            </a:r>
            <a:r>
              <a:rPr lang="de-CH" b="1" dirty="0"/>
              <a:t>.</a:t>
            </a:r>
            <a:endParaRPr lang="de-CH" dirty="0"/>
          </a:p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321210-11A7-F584-56D4-0E009D11B4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632635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1BD569-377F-540B-19BA-CB37F05C1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9224D3-F1E3-A7A6-8574-E186BDB776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765B62-C325-43DF-E464-29B181A5A0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48B17-38D0-55F9-C225-25B7CE081A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14015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28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3355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541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69875" indent="-269875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47F66FB3-1BA7-FA35-8471-B12D6E806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80361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B14407A-BCE3-5AB9-0EED-2D0B1CB6CC2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65025A-103A-0811-0F12-F9BBA355FAE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691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2357" userDrawn="1">
          <p15:clr>
            <a:srgbClr val="FBAE40"/>
          </p15:clr>
        </p15:guide>
        <p15:guide id="8" pos="4730" userDrawn="1">
          <p15:clr>
            <a:srgbClr val="FBAE40"/>
          </p15:clr>
        </p15:guide>
        <p15:guide id="9" pos="5027" userDrawn="1">
          <p15:clr>
            <a:srgbClr val="FBAE40"/>
          </p15:clr>
        </p15:guide>
        <p15:guide id="10" orient="horz" pos="356" userDrawn="1">
          <p15:clr>
            <a:srgbClr val="FBAE40"/>
          </p15:clr>
        </p15:guide>
        <p15:guide id="11" orient="horz" pos="272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47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69455" y="1847851"/>
            <a:ext cx="8479633" cy="428148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FB12D2-D10E-0457-EE2E-876D225EF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4D374F40-B819-1A48-6F81-6D537CA2F48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90C4CA-910E-D623-B4A4-F27E1CCD8A0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683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1763" userDrawn="1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Small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32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6188"/>
            <a:ext cx="2355452" cy="492443"/>
          </a:xfrm>
        </p:spPr>
        <p:txBody>
          <a:bodyPr vert="horz"/>
          <a:lstStyle>
            <a:lvl1pPr rtl="0">
              <a:lnSpc>
                <a:spcPct val="100000"/>
              </a:lnSpc>
              <a:defRPr sz="16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950581"/>
          </a:xfrm>
        </p:spPr>
        <p:txBody>
          <a:bodyPr/>
          <a:lstStyle>
            <a:lvl1pPr marL="0" indent="0" rtl="0">
              <a:lnSpc>
                <a:spcPct val="102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/>
            </a:lvl1pPr>
            <a:lvl2pPr marL="108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2pPr>
            <a:lvl3pPr marL="252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360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/>
            </a:lvl4pPr>
            <a:lvl5pPr marL="504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0250" y="776188"/>
            <a:ext cx="8479633" cy="5353150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FC084AA-45E0-306E-918F-A6A7A2A3A0F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43E3E0-C150-BD9E-1DFA-B136218D5AA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7979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1763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0603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B8A802D-08DB-4A2F-09AC-90520B78D6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2727" y="1847851"/>
            <a:ext cx="3297634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9443884-557B-BF7F-A5FE-3516D5F74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1452" y="1847851"/>
            <a:ext cx="3297635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2" name="Table Placeholder 28">
            <a:extLst>
              <a:ext uri="{FF2B5EF4-FFF2-40B4-BE49-F238E27FC236}">
                <a16:creationId xmlns:a16="http://schemas.microsoft.com/office/drawing/2014/main" id="{396B1433-293D-EA6D-43A7-C51214C489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4209838" y="778567"/>
            <a:ext cx="3600" cy="398234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B2571E-6E34-0B7A-FC18-CF0CCD12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3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90AF6EE-DE50-F3EC-A8BA-8745A6EC580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54A34B-99AC-8BF6-883E-CF9779CF125C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37263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650" userDrawn="1">
          <p15:clr>
            <a:srgbClr val="FBAE40"/>
          </p15:clr>
        </p15:guide>
        <p15:guide id="7" pos="2950" userDrawn="1">
          <p15:clr>
            <a:srgbClr val="FBAE40"/>
          </p15:clr>
        </p15:guide>
        <p15:guide id="8" pos="5027" userDrawn="1">
          <p15:clr>
            <a:srgbClr val="FBAE40"/>
          </p15:clr>
        </p15:guide>
        <p15:guide id="9" pos="5324" userDrawn="1">
          <p15:clr>
            <a:srgbClr val="FBAE40"/>
          </p15:clr>
        </p15:guide>
        <p15:guide id="10" orient="horz" pos="2999" userDrawn="1">
          <p15:clr>
            <a:srgbClr val="FBAE40"/>
          </p15:clr>
        </p15:guide>
        <p15:guide id="11" orient="horz" pos="489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287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6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BFBC6388-9346-0281-E344-E3D47C0CD20D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503201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8" name="Table Placeholder 28">
            <a:extLst>
              <a:ext uri="{FF2B5EF4-FFF2-40B4-BE49-F238E27FC236}">
                <a16:creationId xmlns:a16="http://schemas.microsoft.com/office/drawing/2014/main" id="{7613626D-4331-EEF3-A12C-A61DA703D71A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6329744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9" name="Table Placeholder 28">
            <a:extLst>
              <a:ext uri="{FF2B5EF4-FFF2-40B4-BE49-F238E27FC236}">
                <a16:creationId xmlns:a16="http://schemas.microsoft.com/office/drawing/2014/main" id="{EA9C1A6E-F7C8-BDF3-B0DF-2CF87D82DD83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9156287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74822F3A-88BC-F580-3451-CCED303FB3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7089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32631EA8-4450-EA8E-AE47-0BC60B1B2A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4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AACB0A-8B75-3FED-6D51-F5977F7AD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D89D1098-8590-2844-8C40-507E91B7F9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D60FFC-0856-772F-1608-D77FE7911A3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42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7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5621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4135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49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52A24506-DCE3-1E10-8C1D-C74CE258D3F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65F780-62D6-0E2E-CE55-DB50496D4E3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4054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93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BDC9A5FC-AFB0-A6EF-46C9-A2899544DF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432FB-5710-1D08-8DA0-C9160F8D9EB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01714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15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DCC3DA-D27E-4438-C564-F71EBBC5700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E4D53FF7-3F20-6ECB-6625-643176996B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619D6B-872F-3511-2673-44972EE5DB9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18865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47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9">
            <a:extLst>
              <a:ext uri="{FF2B5EF4-FFF2-40B4-BE49-F238E27FC236}">
                <a16:creationId xmlns:a16="http://schemas.microsoft.com/office/drawing/2014/main" id="{72E9BCA9-46F4-B250-12A5-1D73E2ACDE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166365"/>
            <a:ext cx="5181996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34E381-4626-F5AD-54C0-615795A91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5181996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92FAA8A6-5F55-82C1-8EBD-4D84EB7A13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5181996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F88433-551F-C9B3-8A0B-42728B0C2BC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8469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665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9" name="Picture Placeholder 59">
            <a:extLst>
              <a:ext uri="{FF2B5EF4-FFF2-40B4-BE49-F238E27FC236}">
                <a16:creationId xmlns:a16="http://schemas.microsoft.com/office/drawing/2014/main" id="{82001C16-62F9-CC8E-AEC6-FC293396838F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798367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1" name="Picture Placeholder 59">
            <a:extLst>
              <a:ext uri="{FF2B5EF4-FFF2-40B4-BE49-F238E27FC236}">
                <a16:creationId xmlns:a16="http://schemas.microsoft.com/office/drawing/2014/main" id="{72F1E429-2C8A-48C1-7823-5C1B3E71519D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5153821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2" name="Picture Placeholder 59">
            <a:extLst>
              <a:ext uri="{FF2B5EF4-FFF2-40B4-BE49-F238E27FC236}">
                <a16:creationId xmlns:a16="http://schemas.microsoft.com/office/drawing/2014/main" id="{249BB2A9-18D2-69DA-D30B-1861DBCA2444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7509272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3" name="Picture Placeholder 59">
            <a:extLst>
              <a:ext uri="{FF2B5EF4-FFF2-40B4-BE49-F238E27FC236}">
                <a16:creationId xmlns:a16="http://schemas.microsoft.com/office/drawing/2014/main" id="{473BB750-2F64-7AA6-FDF8-62368BFCF143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9864726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able Placeholder 28">
            <a:extLst>
              <a:ext uri="{FF2B5EF4-FFF2-40B4-BE49-F238E27FC236}">
                <a16:creationId xmlns:a16="http://schemas.microsoft.com/office/drawing/2014/main" id="{DB28695F-07AE-8BDA-E834-6FED480F2E87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2561021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7" name="Table Placeholder 28">
            <a:extLst>
              <a:ext uri="{FF2B5EF4-FFF2-40B4-BE49-F238E27FC236}">
                <a16:creationId xmlns:a16="http://schemas.microsoft.com/office/drawing/2014/main" id="{E87EE977-9854-81AA-C0CC-672F932F444F}"/>
              </a:ext>
            </a:extLst>
          </p:cNvPr>
          <p:cNvSpPr>
            <a:spLocks noGrp="1"/>
          </p:cNvSpPr>
          <p:nvPr>
            <p:ph type="tbl" sz="quarter" idx="31" hasCustomPrompt="1"/>
          </p:nvPr>
        </p:nvSpPr>
        <p:spPr>
          <a:xfrm>
            <a:off x="4916475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able Placeholder 28">
            <a:extLst>
              <a:ext uri="{FF2B5EF4-FFF2-40B4-BE49-F238E27FC236}">
                <a16:creationId xmlns:a16="http://schemas.microsoft.com/office/drawing/2014/main" id="{96E4A292-1F9A-9D50-0309-FC6FEF11F23E}"/>
              </a:ext>
            </a:extLst>
          </p:cNvPr>
          <p:cNvSpPr>
            <a:spLocks noGrp="1"/>
          </p:cNvSpPr>
          <p:nvPr>
            <p:ph type="tbl" sz="quarter" idx="32" hasCustomPrompt="1"/>
          </p:nvPr>
        </p:nvSpPr>
        <p:spPr>
          <a:xfrm>
            <a:off x="7271929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9" name="Table Placeholder 28">
            <a:extLst>
              <a:ext uri="{FF2B5EF4-FFF2-40B4-BE49-F238E27FC236}">
                <a16:creationId xmlns:a16="http://schemas.microsoft.com/office/drawing/2014/main" id="{27A4E506-E0F3-B570-8D10-8AFB0E5A394D}"/>
              </a:ext>
            </a:extLst>
          </p:cNvPr>
          <p:cNvSpPr>
            <a:spLocks noGrp="1"/>
          </p:cNvSpPr>
          <p:nvPr>
            <p:ph type="tbl" sz="quarter" idx="33" hasCustomPrompt="1"/>
          </p:nvPr>
        </p:nvSpPr>
        <p:spPr>
          <a:xfrm>
            <a:off x="9627383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DEC16EB0-BFED-FFC6-A8B3-B7F8061520D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3" y="1847851"/>
            <a:ext cx="188436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4A69E4A-E9A0-8210-6902-2B6DF5DD71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98367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DEB8868-C1DF-E44E-2998-105AD6825F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5382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B49B5642-73AD-7EEF-1C11-BD30F0A372E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0927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6EF55282-0D39-D732-10FD-A98BA0F1A12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64726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C154C38E-51C7-362D-866B-15416F1F7D2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86DEEC-6DE9-3710-DE8F-12CED11AAD1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144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66">
          <p15:clr>
            <a:srgbClr val="FBAE40"/>
          </p15:clr>
        </p15:guide>
        <p15:guide id="7" pos="1763">
          <p15:clr>
            <a:srgbClr val="FBAE40"/>
          </p15:clr>
        </p15:guide>
        <p15:guide id="8" pos="4730">
          <p15:clr>
            <a:srgbClr val="FBAE40"/>
          </p15:clr>
        </p15:guide>
        <p15:guide id="9" pos="5918">
          <p15:clr>
            <a:srgbClr val="FBAE40"/>
          </p15:clr>
        </p15:guide>
        <p15:guide id="10" pos="3246">
          <p15:clr>
            <a:srgbClr val="FBAE40"/>
          </p15:clr>
        </p15:guide>
        <p15:guide id="11" pos="2949">
          <p15:clr>
            <a:srgbClr val="FBAE40"/>
          </p15:clr>
        </p15:guide>
        <p15:guide id="12" pos="4434">
          <p15:clr>
            <a:srgbClr val="FBAE40"/>
          </p15:clr>
        </p15:guide>
        <p15:guide id="13" pos="6215">
          <p15:clr>
            <a:srgbClr val="FBAE40"/>
          </p15:clr>
        </p15:guide>
        <p15:guide id="14" orient="horz" pos="357" userDrawn="1">
          <p15:clr>
            <a:srgbClr val="FBAE40"/>
          </p15:clr>
        </p15:guide>
        <p15:guide id="15" orient="horz" pos="273" userDrawn="1">
          <p15:clr>
            <a:srgbClr val="FBAE40"/>
          </p15:clr>
        </p15:guide>
        <p15:guide id="16" orient="horz" pos="39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088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53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>
          <p15:clr>
            <a:srgbClr val="FBAE40"/>
          </p15:clr>
        </p15:guide>
        <p15:guide id="2" pos="279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846">
          <p15:clr>
            <a:srgbClr val="FBAE40"/>
          </p15:clr>
        </p15:guide>
        <p15:guide id="6" orient="horz" pos="8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33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52DA4686-DEA6-DDAA-F14B-4FA5E77B63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4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A56B557E-FC3E-02C9-B0E4-6B7BC4826E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74385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987C9F39-9372-781F-B149-426ADFF8D2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5856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CDFCD0D4-7AF1-E1A3-C130-94A3208E2E6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37327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0C3DD8D7-DAB7-2880-9DD2-7A30244CECD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68798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848519CA-8F93-2A29-2F24-0313D900009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100270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7" name="Picture Placeholder 59">
            <a:extLst>
              <a:ext uri="{FF2B5EF4-FFF2-40B4-BE49-F238E27FC236}">
                <a16:creationId xmlns:a16="http://schemas.microsoft.com/office/drawing/2014/main" id="{20C81D20-3F92-7F27-BD3D-F421CBBFA17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374385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8" name="Picture Placeholder 59">
            <a:extLst>
              <a:ext uri="{FF2B5EF4-FFF2-40B4-BE49-F238E27FC236}">
                <a16:creationId xmlns:a16="http://schemas.microsoft.com/office/drawing/2014/main" id="{A80565C1-A3D0-E615-D657-775FE2B9A07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856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9" name="Picture Placeholder 59">
            <a:extLst>
              <a:ext uri="{FF2B5EF4-FFF2-40B4-BE49-F238E27FC236}">
                <a16:creationId xmlns:a16="http://schemas.microsoft.com/office/drawing/2014/main" id="{0F4AF88B-2A00-D94D-07EF-4FA4C190E20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37327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0" name="Picture Placeholder 59">
            <a:extLst>
              <a:ext uri="{FF2B5EF4-FFF2-40B4-BE49-F238E27FC236}">
                <a16:creationId xmlns:a16="http://schemas.microsoft.com/office/drawing/2014/main" id="{9E52A26A-719C-8CF4-8758-04858C0E620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68798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1" name="Picture Placeholder 59">
            <a:extLst>
              <a:ext uri="{FF2B5EF4-FFF2-40B4-BE49-F238E27FC236}">
                <a16:creationId xmlns:a16="http://schemas.microsoft.com/office/drawing/2014/main" id="{2141467B-5C51-1FF3-6194-8D6E02FE9124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42914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2" name="Picture Placeholder 59">
            <a:extLst>
              <a:ext uri="{FF2B5EF4-FFF2-40B4-BE49-F238E27FC236}">
                <a16:creationId xmlns:a16="http://schemas.microsoft.com/office/drawing/2014/main" id="{E6F4D735-4A51-129C-E774-7164B8CFB7A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100271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2D65790-DD9D-F322-D61E-E727121FE32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CF4ABE-EAD7-3D06-B2CA-6DADCF104250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9292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94" userDrawn="1">
          <p15:clr>
            <a:srgbClr val="FBAE40"/>
          </p15:clr>
        </p15:guide>
        <p15:guide id="7" pos="2535" userDrawn="1">
          <p15:clr>
            <a:srgbClr val="FBAE40"/>
          </p15:clr>
        </p15:guide>
        <p15:guide id="8" pos="5144" userDrawn="1">
          <p15:clr>
            <a:srgbClr val="FBAE40"/>
          </p15:clr>
        </p15:guide>
        <p15:guide id="9" pos="6185" userDrawn="1">
          <p15:clr>
            <a:srgbClr val="FBAE40"/>
          </p15:clr>
        </p15:guide>
        <p15:guide id="10" pos="3752" userDrawn="1">
          <p15:clr>
            <a:srgbClr val="FBAE40"/>
          </p15:clr>
        </p15:guide>
        <p15:guide id="11" pos="2711" userDrawn="1">
          <p15:clr>
            <a:srgbClr val="FBAE40"/>
          </p15:clr>
        </p15:guide>
        <p15:guide id="12" pos="4968" userDrawn="1">
          <p15:clr>
            <a:srgbClr val="FBAE40"/>
          </p15:clr>
        </p15:guide>
        <p15:guide id="13" pos="6362" userDrawn="1">
          <p15:clr>
            <a:srgbClr val="FBAE40"/>
          </p15:clr>
        </p15:guide>
        <p15:guide id="14" pos="1319" userDrawn="1">
          <p15:clr>
            <a:srgbClr val="FBAE40"/>
          </p15:clr>
        </p15:guide>
        <p15:guide id="15" pos="3927" userDrawn="1">
          <p15:clr>
            <a:srgbClr val="FBAE40"/>
          </p15:clr>
        </p15:guide>
        <p15:guide id="16" orient="horz" pos="357" userDrawn="1">
          <p15:clr>
            <a:srgbClr val="FBAE40"/>
          </p15:clr>
        </p15:guide>
        <p15:guide id="17" orient="horz" pos="273" userDrawn="1">
          <p15:clr>
            <a:srgbClr val="FBAE40"/>
          </p15:clr>
        </p15:guide>
        <p15:guide id="18" orient="horz" pos="394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36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0152" y="2962342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90152" y="778573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37392" y="2962342"/>
            <a:ext cx="3611694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137392" y="778572"/>
            <a:ext cx="3611694" cy="203977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0152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290152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7394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137394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E39378-A4BD-55C8-0711-22AEB7C16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77986CF-D3BE-9872-2272-39FFED79FC6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1901E-74EB-6930-7088-BF9AF5F6DB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58334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>
          <p15:clr>
            <a:srgbClr val="FBAE40"/>
          </p15:clr>
        </p15:guide>
        <p15:guide id="7" pos="2702" userDrawn="1">
          <p15:clr>
            <a:srgbClr val="FBAE40"/>
          </p15:clr>
        </p15:guide>
        <p15:guide id="8" pos="4977" userDrawn="1">
          <p15:clr>
            <a:srgbClr val="FBAE40"/>
          </p15:clr>
        </p15:guide>
        <p15:guide id="9" pos="5126" userDrawn="1">
          <p15:clr>
            <a:srgbClr val="FBAE40"/>
          </p15:clr>
        </p15:guide>
        <p15:guide id="10" orient="horz" pos="273" userDrawn="1">
          <p15:clr>
            <a:srgbClr val="FBAE40"/>
          </p15:clr>
        </p15:guide>
        <p15:guide id="11" orient="horz" pos="357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55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740547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7089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567089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93634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93634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547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740547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847851"/>
            <a:ext cx="2826543" cy="1292598"/>
          </a:xfrm>
        </p:spPr>
        <p:txBody>
          <a:bodyPr tIns="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67090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567090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3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393633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369DB6-9242-5A5E-1D70-ECF717BA9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73A38B20-E64D-8CD5-11BE-3F65495CA9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89560B-16D7-0EF3-1E6B-22FF965F822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6378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5" userDrawn="1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4135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5622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291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2834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332834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377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21377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920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909920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A452E05-4E77-1497-2611-6DBA80FC972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17EBBE-A9F5-3CAA-3E90-DF523A0FEF3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74825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7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949" userDrawn="1">
          <p15:clr>
            <a:srgbClr val="FBAE40"/>
          </p15:clr>
        </p15:guide>
        <p15:guide id="7" pos="3767" userDrawn="1">
          <p15:clr>
            <a:srgbClr val="FBAE40"/>
          </p15:clr>
        </p15:guide>
        <p15:guide id="8" pos="5586" userDrawn="1">
          <p15:clr>
            <a:srgbClr val="FBAE40"/>
          </p15:clr>
        </p15:guide>
        <p15:guide id="9" pos="5732" userDrawn="1">
          <p15:clr>
            <a:srgbClr val="FBAE40"/>
          </p15:clr>
        </p15:guide>
        <p15:guide id="10" pos="2096" userDrawn="1">
          <p15:clr>
            <a:srgbClr val="FBAE40"/>
          </p15:clr>
        </p15:guide>
        <p15:guide id="11" pos="3914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6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18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3817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153817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9270" y="2402945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7509270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64723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864723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3817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5153817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09271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7509271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864722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9864722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A3F395E-1522-D712-5405-A08D8D20D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4E8F2173-DA41-D2C0-51A8-AFF0B5FEE9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20D8D6-A023-7870-284A-BFAD942BEE3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25027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 userDrawn="1">
          <p15:clr>
            <a:srgbClr val="FBAE40"/>
          </p15:clr>
        </p15:guide>
        <p15:guide id="7" pos="3246" userDrawn="1">
          <p15:clr>
            <a:srgbClr val="FBAE40"/>
          </p15:clr>
        </p15:guide>
        <p15:guide id="8" pos="4434" userDrawn="1">
          <p15:clr>
            <a:srgbClr val="FBAE40"/>
          </p15:clr>
        </p15:guide>
        <p15:guide id="9" pos="4730" userDrawn="1">
          <p15:clr>
            <a:srgbClr val="FBAE40"/>
          </p15:clr>
        </p15:guide>
        <p15:guide id="10" pos="5918" userDrawn="1">
          <p15:clr>
            <a:srgbClr val="FBAE40"/>
          </p15:clr>
        </p15:guide>
        <p15:guide id="11" pos="6213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005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1729" y="378932"/>
            <a:ext cx="7301907" cy="1384995"/>
          </a:xfrm>
        </p:spPr>
        <p:txBody>
          <a:bodyPr vert="horz"/>
          <a:lstStyle>
            <a:lvl1pPr rtl="0"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C5D2C08-772B-BAC7-A7BA-65C5C25858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4369451-8960-0AD5-7685-EAC06A5027DD}"/>
              </a:ext>
            </a:extLst>
          </p:cNvPr>
          <p:cNvCxnSpPr>
            <a:cxnSpLocks/>
          </p:cNvCxnSpPr>
          <p:nvPr userDrawn="1"/>
        </p:nvCxnSpPr>
        <p:spPr>
          <a:xfrm>
            <a:off x="1856184" y="455612"/>
            <a:ext cx="0" cy="594623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8B1A7F2-3122-6DD8-33F3-7FA3D1AC04CA}"/>
              </a:ext>
            </a:extLst>
          </p:cNvPr>
          <p:cNvCxnSpPr>
            <a:cxnSpLocks/>
          </p:cNvCxnSpPr>
          <p:nvPr userDrawn="1"/>
        </p:nvCxnSpPr>
        <p:spPr>
          <a:xfrm>
            <a:off x="9629178" y="455612"/>
            <a:ext cx="0" cy="35115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091729" y="1971675"/>
            <a:ext cx="7301907" cy="4157663"/>
          </a:xfrm>
          <a:blipFill>
            <a:blip r:embed="rId7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864725" y="455612"/>
            <a:ext cx="1884363" cy="2344738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64725" y="2944350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C7EF989-3CDC-C822-83EB-54EAFD08E49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235213-27B7-0D7F-DA88-99EFCB6B3E56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626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6213" userDrawn="1">
          <p15:clr>
            <a:srgbClr val="FBAE40"/>
          </p15:clr>
        </p15:guide>
        <p15:guide id="11" pos="5918" userDrawn="1">
          <p15:clr>
            <a:srgbClr val="FBAE40"/>
          </p15:clr>
        </p15:guide>
        <p15:guide id="12" orient="horz" pos="1241" userDrawn="1">
          <p15:clr>
            <a:srgbClr val="FBAE40"/>
          </p15:clr>
        </p15:guide>
        <p15:guide id="13" pos="131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89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C3D9C0-2255-4F27-9E3E-DDABE614ADB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89846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324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6ADFC1-9B3F-FCF1-8B47-469FCA98130B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5196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982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E2BBC7-F91F-0089-BBA2-43A4F521E8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46554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44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05758-4402-B99C-DB48-44EF0461451B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81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20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597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8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2125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025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54B76-DF98-FB0D-4617-5443497B8458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8403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7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8BCF3F-2E77-21A0-2343-3E510C22E920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10102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I Think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5886C5-FA0F-0F9E-19D8-7DAE57712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7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886C5-FA0F-0F9E-19D8-7DAE57712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F5453F-0CB1-04D3-0457-A9B661042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83FA8C-1035-D1A2-56D6-E93A7E9A81B3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42913" y="2569746"/>
            <a:ext cx="11306175" cy="109869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F357B-6EAC-1264-B8D5-03643E03F1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425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740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39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96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Picture Placeholder 59">
            <a:extLst>
              <a:ext uri="{FF2B5EF4-FFF2-40B4-BE49-F238E27FC236}">
                <a16:creationId xmlns:a16="http://schemas.microsoft.com/office/drawing/2014/main" id="{878AE4F8-463C-070D-568E-01A4A9B312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4000" y="411882"/>
            <a:ext cx="5185088" cy="366254"/>
          </a:xfrm>
        </p:spPr>
        <p:txBody>
          <a:bodyPr vert="horz"/>
          <a:lstStyle>
            <a:lvl1pPr rtl="0">
              <a:lnSpc>
                <a:spcPct val="85000"/>
              </a:lnSpc>
              <a:defRPr/>
            </a:lvl1pPr>
          </a:lstStyle>
          <a:p>
            <a:r>
              <a:rPr lang="de-CH"/>
              <a:t>Chapter title</a:t>
            </a:r>
            <a:endParaRPr lang="de-CH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0A3582-EC55-9F92-A194-5BBC144D6E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64001" y="1847851"/>
            <a:ext cx="5185089" cy="1190006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marL="270000" rtl="0">
              <a:spcBef>
                <a:spcPts val="0"/>
              </a:spcBef>
              <a:defRPr b="0"/>
            </a:lvl2pPr>
            <a:lvl3pPr marL="378000" indent="-108000" rtl="0">
              <a:buFont typeface="Arial" panose="020B0604020202020204" pitchFamily="34" charset="0"/>
              <a:buChar char="•"/>
              <a:defRPr/>
            </a:lvl3pPr>
            <a:lvl4pPr marL="522000" indent="-144000" rtl="0">
              <a:buFont typeface="Arial" panose="020B0604020202020204" pitchFamily="34" charset="0"/>
              <a:buChar char="–"/>
              <a:defRPr/>
            </a:lvl4pPr>
            <a:lvl5pPr marL="630000" indent="-108000" rtl="0">
              <a:defRPr/>
            </a:lvl5pPr>
            <a:lvl6pPr marL="774000"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F465A4A-9D2E-77C5-D45D-A69B82B7E6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9109" y="3309487"/>
            <a:ext cx="3565079" cy="3847207"/>
          </a:xfrm>
        </p:spPr>
        <p:txBody>
          <a:bodyPr wrap="none"/>
          <a:lstStyle>
            <a:lvl1pPr marL="0" indent="0" algn="r" rtl="0">
              <a:lnSpc>
                <a:spcPct val="10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000">
                <a:solidFill>
                  <a:schemeClr val="tx1"/>
                </a:solidFill>
              </a:defRPr>
            </a:lvl1pPr>
            <a:lvl2pPr marL="216000" indent="0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216000" indent="0">
              <a:buFont typeface="Wingdings 2" panose="05020102010507070707" pitchFamily="18" charset="2"/>
              <a:buNone/>
              <a:defRPr/>
            </a:lvl3pPr>
            <a:lvl4pPr marL="324000" indent="0">
              <a:buFont typeface="Arial" panose="020B0604020202020204" pitchFamily="34" charset="0"/>
              <a:buNone/>
              <a:defRPr/>
            </a:lvl4pPr>
          </a:lstStyle>
          <a:p>
            <a:pPr lvl="0"/>
            <a:r>
              <a:rPr lang="de-CH"/>
              <a:t>00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70AFFBFB-FEF5-A7B6-E1C1-927BCF2AAC53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1689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25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pos="4135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C233979-EA67-F8B0-A639-33E055461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222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233979-EA67-F8B0-A639-33E055461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22C6C7-2CDF-C32A-91D7-90E732299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1C634D1-564F-B775-04E1-8534166483C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847851"/>
            <a:ext cx="11306175" cy="4281487"/>
          </a:xfrm>
        </p:spPr>
        <p:txBody>
          <a:bodyPr>
            <a:noAutofit/>
          </a:bodyPr>
          <a:lstStyle>
            <a:lvl1pPr marL="270000" indent="-270000" rtl="0"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buFont typeface="Arial" panose="020B0604020202020204" pitchFamily="34" charset="0"/>
              <a:buChar char="•"/>
              <a:defRPr/>
            </a:lvl5pPr>
            <a:lvl6pPr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50B1A83-BEBF-870D-252E-3FDD3236E78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055384-654C-EFE2-017C-D6AA4C3ABE7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1302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pos="7401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273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96D39C-67D8-D69D-7A0A-7C8C235C13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2377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261" imgH="257" progId="TCLayout.ActiveDocument.1">
                  <p:embed/>
                </p:oleObj>
              </mc:Choice>
              <mc:Fallback>
                <p:oleObj name="think-cell Folie" r:id="rId32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96D39C-67D8-D69D-7A0A-7C8C235C1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5DBC0B-45E9-9ECF-D83B-54186537B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D97F2-D873-C15D-7050-2A8725629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2569746"/>
            <a:ext cx="11306175" cy="1292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D22765-172B-BA98-AB97-F89F606386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8024" y="628563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900">
                <a:solidFill>
                  <a:schemeClr val="tx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86DDF6-ED6F-D9A8-85F4-DED139D74F6B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54650D7-CF47-4432-B08A-51CB9A9218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CH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26333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52" r:id="rId3"/>
    <p:sldLayoutId id="2147483683" r:id="rId4"/>
    <p:sldLayoutId id="2147483650" r:id="rId5"/>
    <p:sldLayoutId id="2147483684" r:id="rId6"/>
    <p:sldLayoutId id="2147483681" r:id="rId7"/>
    <p:sldLayoutId id="2147483654" r:id="rId8"/>
    <p:sldLayoutId id="2147483678" r:id="rId9"/>
    <p:sldLayoutId id="2147483661" r:id="rId10"/>
    <p:sldLayoutId id="2147483656" r:id="rId11"/>
    <p:sldLayoutId id="2147483674" r:id="rId12"/>
    <p:sldLayoutId id="2147483657" r:id="rId13"/>
    <p:sldLayoutId id="2147483659" r:id="rId14"/>
    <p:sldLayoutId id="2147483672" r:id="rId15"/>
    <p:sldLayoutId id="2147483679" r:id="rId16"/>
    <p:sldLayoutId id="2147483680" r:id="rId17"/>
    <p:sldLayoutId id="2147483660" r:id="rId18"/>
    <p:sldLayoutId id="2147483663" r:id="rId19"/>
    <p:sldLayoutId id="2147483664" r:id="rId20"/>
    <p:sldLayoutId id="2147483669" r:id="rId21"/>
    <p:sldLayoutId id="2147483668" r:id="rId22"/>
    <p:sldLayoutId id="2147483666" r:id="rId23"/>
    <p:sldLayoutId id="2147483667" r:id="rId24"/>
    <p:sldLayoutId id="2147483653" r:id="rId25"/>
    <p:sldLayoutId id="2147483670" r:id="rId26"/>
    <p:sldLayoutId id="2147483685" r:id="rId27"/>
    <p:sldLayoutId id="2147483671" r:id="rId28"/>
    <p:sldLayoutId id="2147483686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5000"/>
        </a:lnSpc>
        <a:spcBef>
          <a:spcPts val="800"/>
        </a:spcBef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BED875-9ABB-E7AF-C5AC-3B3253B428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52FB80-1139-271B-1B8C-8629403C1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951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52FB80-1139-271B-1B8C-8629403C1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46848C-0D8F-13F0-99D4-61DA2B4A45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2D619B-2BB5-308A-DBEB-81D918C68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/>
          <a:lstStyle/>
          <a:p>
            <a:r>
              <a:rPr lang="en-US" dirty="0"/>
              <a:t>AOZ Challenge:</a:t>
            </a:r>
            <a:br>
              <a:rPr lang="en-US" dirty="0"/>
            </a:br>
            <a:r>
              <a:rPr lang="en-US" dirty="0" err="1"/>
              <a:t>SupplyHub</a:t>
            </a:r>
            <a:endParaRPr lang="de-CH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8037B624-F9CC-25DD-C390-EB2B78C6C3F0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754E670-316B-6B06-236F-B0A76F8621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04583" y="3871407"/>
            <a:ext cx="7334147" cy="519804"/>
          </a:xfrm>
        </p:spPr>
        <p:txBody>
          <a:bodyPr/>
          <a:lstStyle/>
          <a:p>
            <a:pPr lvl="1"/>
            <a:r>
              <a:rPr lang="de-CH" dirty="0"/>
              <a:t>Daniel Maksimovic, Katerina Kuneva, Nils Grob</a:t>
            </a:r>
          </a:p>
          <a:p>
            <a:pPr lvl="2"/>
            <a:r>
              <a:rPr lang="de-CH" dirty="0"/>
              <a:t>Zürich, 01.09.2025</a:t>
            </a:r>
          </a:p>
        </p:txBody>
      </p:sp>
    </p:spTree>
    <p:extLst>
      <p:ext uri="{BB962C8B-B14F-4D97-AF65-F5344CB8AC3E}">
        <p14:creationId xmlns:p14="http://schemas.microsoft.com/office/powerpoint/2010/main" val="3632019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4EAE2-DB33-196C-BFBE-1D8D1FA39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BD4A6104-A403-4442-09B3-46FC2B6399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57D46F1-98BD-C093-1151-D0C3C8338C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6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D46F1-98BD-C093-1151-D0C3C8338C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7159C6-F493-6261-4A05-0E9F01E210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1296935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upplyHub</a:t>
            </a:r>
            <a:r>
              <a:rPr lang="de-CH" b="1" dirty="0"/>
              <a:t>: </a:t>
            </a:r>
            <a:r>
              <a:rPr lang="de-CH" dirty="0"/>
              <a:t>a </a:t>
            </a:r>
            <a:r>
              <a:rPr lang="de-CH" dirty="0" err="1"/>
              <a:t>shared</a:t>
            </a:r>
            <a:r>
              <a:rPr lang="de-CH" dirty="0"/>
              <a:t>, city-</a:t>
            </a:r>
            <a:r>
              <a:rPr lang="de-CH" dirty="0" err="1"/>
              <a:t>wide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plan, </a:t>
            </a:r>
            <a:r>
              <a:rPr lang="de-CH" dirty="0" err="1"/>
              <a:t>store</a:t>
            </a:r>
            <a:r>
              <a:rPr lang="de-CH" dirty="0"/>
              <a:t>, and deploy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fast.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/>
              <a:t>Tech Stack:</a:t>
            </a:r>
            <a:r>
              <a:rPr lang="de-CH" dirty="0"/>
              <a:t> React + Vue (Frontend) &amp; Python (Backend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3AEEF-1254-34F2-D796-B6C5A82E3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ntr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C42A635-4AC4-DA9E-4FA9-394030B49BE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3A211B-FB39-8BE1-249D-A32806B44E9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2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18E1123-D3E6-7D76-518E-5B0E6DE00B9F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4F91198-26BE-BB8E-ED9B-EC42B60975BC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7" name="Grafik 6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FC8074C2-B4AD-5298-AAE8-A74B9C28BB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60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B58F-918D-E90E-423C-31739C625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Menschliches Gesicht, Person, Im Haus, Computer enthält.&#10;&#10;KI-generierte Inhalte können fehlerhaft sein.">
            <a:extLst>
              <a:ext uri="{FF2B5EF4-FFF2-40B4-BE49-F238E27FC236}">
                <a16:creationId xmlns:a16="http://schemas.microsoft.com/office/drawing/2014/main" id="{A247F5D9-D0E9-F346-89FB-31AAA032C35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4020" r="6721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DE0F02E-510F-7E47-F07B-EAC5BB2850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E0F02E-510F-7E47-F07B-EAC5BB285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726BD2-EF7A-5B0B-193D-B109EC13DD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537959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Fragmented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 </a:t>
            </a: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Procurement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:</a:t>
            </a:r>
          </a:p>
          <a:p>
            <a:pPr marL="0" indent="0">
              <a:buNone/>
            </a:pPr>
            <a:r>
              <a:rPr lang="de-CH" dirty="0"/>
              <a:t>Parallel </a:t>
            </a:r>
            <a:r>
              <a:rPr lang="de-CH" dirty="0" err="1"/>
              <a:t>procurement</a:t>
            </a:r>
            <a:r>
              <a:rPr lang="de-CH" dirty="0"/>
              <a:t> and </a:t>
            </a:r>
            <a:r>
              <a:rPr lang="de-CH" dirty="0" err="1"/>
              <a:t>storage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 </a:t>
            </a:r>
            <a:r>
              <a:rPr lang="de-CH" dirty="0" err="1"/>
              <a:t>lea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uplication</a:t>
            </a:r>
            <a:r>
              <a:rPr lang="de-CH" dirty="0"/>
              <a:t>,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costs</a:t>
            </a:r>
            <a:r>
              <a:rPr lang="de-CH" dirty="0"/>
              <a:t>, slow </a:t>
            </a:r>
            <a:r>
              <a:rPr lang="de-CH" dirty="0" err="1"/>
              <a:t>coordination</a:t>
            </a:r>
            <a:r>
              <a:rPr lang="de-CH" dirty="0"/>
              <a:t>, and last-minute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buying</a:t>
            </a:r>
            <a:r>
              <a:rPr lang="de-CH" dirty="0"/>
              <a:t>.</a:t>
            </a:r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ea typeface="Verdana"/>
                <a:cs typeface="Arial"/>
              </a:rPr>
              <a:t>Disconnected</a:t>
            </a:r>
            <a:r>
              <a:rPr lang="de-CH" b="1" dirty="0">
                <a:ea typeface="Verdana"/>
                <a:cs typeface="Arial"/>
              </a:rPr>
              <a:t> </a:t>
            </a:r>
            <a:r>
              <a:rPr lang="de-CH" b="1" dirty="0" err="1">
                <a:ea typeface="Verdana"/>
                <a:cs typeface="Arial"/>
              </a:rPr>
              <a:t>Logistics</a:t>
            </a:r>
            <a:r>
              <a:rPr lang="de-CH" b="1" dirty="0">
                <a:ea typeface="Verdana"/>
                <a:cs typeface="Arial"/>
              </a:rPr>
              <a:t>:</a:t>
            </a:r>
          </a:p>
          <a:p>
            <a:pPr marL="0" indent="0">
              <a:buNone/>
            </a:pPr>
            <a:r>
              <a:rPr lang="de-CH" dirty="0"/>
              <a:t>Crisis </a:t>
            </a:r>
            <a:r>
              <a:rPr lang="de-CH" dirty="0" err="1"/>
              <a:t>teams</a:t>
            </a:r>
            <a:r>
              <a:rPr lang="de-CH" dirty="0"/>
              <a:t> and </a:t>
            </a:r>
            <a:r>
              <a:rPr lang="de-CH" dirty="0" err="1"/>
              <a:t>logistic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all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goods</a:t>
            </a:r>
            <a:r>
              <a:rPr lang="de-CH" dirty="0"/>
              <a:t> but lack a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auses</a:t>
            </a:r>
            <a:r>
              <a:rPr lang="de-CH" dirty="0"/>
              <a:t>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gap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Reactive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, not </a:t>
            </a: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prepared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:</a:t>
            </a:r>
          </a:p>
          <a:p>
            <a:pPr marL="0" indent="0">
              <a:buNone/>
            </a:pPr>
            <a:r>
              <a:rPr lang="de-CH" dirty="0"/>
              <a:t>As </a:t>
            </a:r>
            <a:r>
              <a:rPr lang="de-CH" dirty="0" err="1"/>
              <a:t>new</a:t>
            </a:r>
            <a:r>
              <a:rPr lang="de-CH" dirty="0"/>
              <a:t> </a:t>
            </a:r>
            <a:r>
              <a:rPr lang="de-CH" dirty="0" err="1"/>
              <a:t>arrivals</a:t>
            </a:r>
            <a:r>
              <a:rPr lang="de-CH" dirty="0"/>
              <a:t> </a:t>
            </a:r>
            <a:r>
              <a:rPr lang="de-CH" dirty="0" err="1"/>
              <a:t>flood</a:t>
            </a:r>
            <a:r>
              <a:rPr lang="de-CH" dirty="0"/>
              <a:t> in </a:t>
            </a:r>
            <a:r>
              <a:rPr lang="de-CH" dirty="0" err="1"/>
              <a:t>overnight</a:t>
            </a:r>
            <a:r>
              <a:rPr lang="de-CH" dirty="0"/>
              <a:t>, </a:t>
            </a:r>
            <a:r>
              <a:rPr lang="de-CH" dirty="0" err="1"/>
              <a:t>Anna’s</a:t>
            </a:r>
            <a:r>
              <a:rPr lang="de-CH" dirty="0"/>
              <a:t> </a:t>
            </a:r>
            <a:r>
              <a:rPr lang="de-CH" dirty="0" err="1"/>
              <a:t>team</a:t>
            </a:r>
            <a:r>
              <a:rPr lang="de-CH" dirty="0"/>
              <a:t> </a:t>
            </a:r>
            <a:r>
              <a:rPr lang="de-CH" dirty="0" err="1"/>
              <a:t>scramble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spond</a:t>
            </a:r>
            <a:r>
              <a:rPr lang="de-CH" dirty="0"/>
              <a:t>. Information </a:t>
            </a:r>
            <a:r>
              <a:rPr lang="de-CH" dirty="0" err="1"/>
              <a:t>is</a:t>
            </a:r>
            <a:r>
              <a:rPr lang="de-CH" dirty="0"/>
              <a:t> scattered, </a:t>
            </a:r>
            <a:r>
              <a:rPr lang="de-CH" dirty="0" err="1"/>
              <a:t>decisions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delayed</a:t>
            </a:r>
            <a:r>
              <a:rPr lang="de-CH" dirty="0"/>
              <a:t>, and </a:t>
            </a:r>
            <a:r>
              <a:rPr lang="de-CH" dirty="0" err="1"/>
              <a:t>families</a:t>
            </a:r>
            <a:r>
              <a:rPr lang="de-CH" dirty="0"/>
              <a:t> </a:t>
            </a:r>
            <a:r>
              <a:rPr lang="de-CH" dirty="0" err="1"/>
              <a:t>wait</a:t>
            </a:r>
            <a:r>
              <a:rPr lang="de-CH" dirty="0"/>
              <a:t> </a:t>
            </a:r>
            <a:r>
              <a:rPr lang="de-CH" dirty="0" err="1"/>
              <a:t>long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essentials</a:t>
            </a:r>
            <a:r>
              <a:rPr lang="de-CH" dirty="0"/>
              <a:t> </a:t>
            </a:r>
            <a:r>
              <a:rPr lang="de-CH" dirty="0" err="1"/>
              <a:t>they</a:t>
            </a:r>
            <a:r>
              <a:rPr lang="de-CH" dirty="0"/>
              <a:t> </a:t>
            </a:r>
            <a:r>
              <a:rPr lang="de-CH" dirty="0" err="1"/>
              <a:t>need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endParaRPr lang="en-US" dirty="0">
              <a:latin typeface="Tenorite"/>
            </a:endParaRPr>
          </a:p>
          <a:p>
            <a:pPr marL="0" indent="0">
              <a:buNone/>
            </a:pPr>
            <a:endParaRPr lang="de-CH" b="1" dirty="0">
              <a:solidFill>
                <a:srgbClr val="000000"/>
              </a:solidFill>
              <a:ea typeface="Verdana"/>
              <a:cs typeface="Verdan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8AFF68-54F0-A726-BB2D-76B9F113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>
                <a:cs typeface="Arial"/>
              </a:rPr>
              <a:t>Anna’s</a:t>
            </a:r>
            <a:r>
              <a:rPr lang="de-CH" dirty="0">
                <a:cs typeface="Arial"/>
              </a:rPr>
              <a:t> Challenges</a:t>
            </a:r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5F6A7A1-F853-7508-56E6-D34BF165EEB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9F72A0-CF77-55C3-8CAC-69F57855DF1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84968" y="6285630"/>
            <a:ext cx="64120" cy="138499"/>
          </a:xfrm>
        </p:spPr>
        <p:txBody>
          <a:bodyPr/>
          <a:lstStyle/>
          <a:p>
            <a:fld id="{AC23F07A-CEC6-4CA8-9EF8-AC37F6E73B6A}" type="slidenum">
              <a:rPr lang="de-CH" smtClean="0">
                <a:solidFill>
                  <a:schemeClr val="bg1"/>
                </a:solidFill>
              </a:rPr>
              <a:pPr/>
              <a:t>3</a:t>
            </a:fld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EEF6D3-A6B4-21E9-E755-77F4F9B4DD26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DE1A59C-5B44-E907-74CE-1D72C825B6F3}"/>
              </a:ext>
            </a:extLst>
          </p:cNvPr>
          <p:cNvSpPr>
            <a:spLocks/>
          </p:cNvSpPr>
          <p:nvPr/>
        </p:nvSpPr>
        <p:spPr>
          <a:xfrm>
            <a:off x="0" y="5776332"/>
            <a:ext cx="1847850" cy="10816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DC8667C7-0EAD-95F6-B479-D56543B9C7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526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525B6-1545-0DE9-A227-C1B10B133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236DE760-A238-7B0D-F634-EEA2396126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6C172E-F722-C264-48CD-2611F7BF1C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385096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upplyHub</a:t>
            </a:r>
            <a:r>
              <a:rPr lang="de-CH" b="1" dirty="0"/>
              <a:t>: 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b="1" dirty="0"/>
              <a:t>plan</a:t>
            </a:r>
            <a:r>
              <a:rPr lang="de-CH" dirty="0"/>
              <a:t>, </a:t>
            </a:r>
            <a:r>
              <a:rPr lang="de-CH" b="1" dirty="0"/>
              <a:t>source</a:t>
            </a:r>
            <a:r>
              <a:rPr lang="de-CH" dirty="0"/>
              <a:t>, </a:t>
            </a:r>
            <a:r>
              <a:rPr lang="de-CH" b="1" dirty="0" err="1"/>
              <a:t>store</a:t>
            </a:r>
            <a:r>
              <a:rPr lang="de-CH" dirty="0"/>
              <a:t>, and </a:t>
            </a:r>
            <a:r>
              <a:rPr lang="de-CH" b="1" dirty="0"/>
              <a:t>deploy</a:t>
            </a:r>
            <a:r>
              <a:rPr lang="de-CH" dirty="0"/>
              <a:t>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role-based</a:t>
            </a:r>
            <a:r>
              <a:rPr lang="de-CH" dirty="0"/>
              <a:t> </a:t>
            </a:r>
            <a:r>
              <a:rPr lang="de-CH" dirty="0" err="1"/>
              <a:t>access</a:t>
            </a:r>
            <a:r>
              <a:rPr lang="de-CH" dirty="0"/>
              <a:t> and </a:t>
            </a:r>
            <a:r>
              <a:rPr lang="de-CH" dirty="0" err="1"/>
              <a:t>readiness</a:t>
            </a:r>
            <a:r>
              <a:rPr lang="de-CH" dirty="0"/>
              <a:t> </a:t>
            </a:r>
            <a:r>
              <a:rPr lang="de-CH" dirty="0" err="1"/>
              <a:t>tracking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Three</a:t>
            </a:r>
            <a:r>
              <a:rPr lang="de-CH" b="1" dirty="0"/>
              <a:t> Core Features:</a:t>
            </a:r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Stab Dashboard: </a:t>
            </a:r>
            <a:r>
              <a:rPr lang="de-CH" dirty="0" err="1"/>
              <a:t>Overview</a:t>
            </a:r>
            <a:r>
              <a:rPr lang="de-CH" dirty="0"/>
              <a:t> and </a:t>
            </a:r>
            <a:r>
              <a:rPr lang="de-CH" dirty="0" err="1"/>
              <a:t>action</a:t>
            </a:r>
            <a:r>
              <a:rPr lang="de-CH" dirty="0"/>
              <a:t> </a:t>
            </a:r>
            <a:r>
              <a:rPr lang="de-CH" dirty="0" err="1"/>
              <a:t>cen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staff</a:t>
            </a:r>
            <a:r>
              <a:rPr lang="de-CH" dirty="0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/>
              <a:t>Authorization </a:t>
            </a:r>
            <a:r>
              <a:rPr lang="de-CH" b="1" dirty="0"/>
              <a:t>Dashboard: </a:t>
            </a:r>
            <a:r>
              <a:rPr lang="de-CH" dirty="0"/>
              <a:t>Validation and </a:t>
            </a:r>
            <a:r>
              <a:rPr lang="de-CH" dirty="0" err="1"/>
              <a:t>approval</a:t>
            </a:r>
            <a:r>
              <a:rPr lang="de-CH" dirty="0"/>
              <a:t> interface </a:t>
            </a:r>
            <a:r>
              <a:rPr lang="de-CH" dirty="0" err="1"/>
              <a:t>for</a:t>
            </a:r>
            <a:r>
              <a:rPr lang="de-CH" dirty="0"/>
              <a:t> stock </a:t>
            </a:r>
            <a:r>
              <a:rPr lang="de-CH" dirty="0" err="1"/>
              <a:t>requests</a:t>
            </a:r>
            <a:r>
              <a:rPr lang="de-CH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Organisation Dashboard: </a:t>
            </a:r>
            <a:r>
              <a:rPr lang="de-CH" dirty="0"/>
              <a:t>Stock, </a:t>
            </a:r>
            <a:r>
              <a:rPr lang="de-CH" dirty="0" err="1"/>
              <a:t>logistics</a:t>
            </a:r>
            <a:r>
              <a:rPr lang="de-CH" dirty="0"/>
              <a:t>, and </a:t>
            </a:r>
            <a:r>
              <a:rPr lang="de-CH" dirty="0" err="1"/>
              <a:t>inspection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facilities</a:t>
            </a:r>
            <a:r>
              <a:rPr lang="de-CH" dirty="0"/>
              <a:t>.</a:t>
            </a:r>
            <a:r>
              <a:rPr lang="de-CH" b="1" dirty="0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55FA83D-5955-97B5-5836-B9FF29516F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FA83D-5955-97B5-5836-B9FF29516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F14D4-F628-A155-86E0-5E17E4E5D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Our</a:t>
            </a:r>
            <a:r>
              <a:rPr lang="de-CH" dirty="0"/>
              <a:t> Solu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124FDE3-52AB-5DFD-6C4E-C3C436E6D2D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FE833C-67B8-DB42-D72F-DA890792FE8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4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979E31E-C3E2-DF35-11B1-B05441AACC2B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18E507F-D87E-DA75-068B-6614BF207A81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7" name="Grafik 6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4CBD9753-4799-DE62-76AF-6BD9CED6DA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177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89F7AF-926A-F994-3067-54DC38C7C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7EA624B4-0F84-4151-56BB-87677770B7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FF100B6-58EA-0D50-0CA1-8F6764433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F100B6-58EA-0D50-0CA1-8F6764433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DFB20A-ADD6-66EB-1D65-A76B98C58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Dem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1298B82-E72E-7262-6A0E-B13CBB5937D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E51290-7188-350E-AC36-91C93342930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5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7AE15E9-7B7D-2A81-999A-34DAE914B3C1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4963494-3E8B-9676-7B0B-921EF4A797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BC4B9C-0C32-9BE4-20BE-61E5BC8FB36A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11F41C67-A383-7D76-418F-9D54668FF8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625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8A21F-FA6F-C6AC-09C5-2C0BDED705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Person, Im Haus, computer, Menschliches Gesicht enthält.&#10;&#10;KI-generierte Inhalte können fehlerhaft sein.">
            <a:extLst>
              <a:ext uri="{FF2B5EF4-FFF2-40B4-BE49-F238E27FC236}">
                <a16:creationId xmlns:a16="http://schemas.microsoft.com/office/drawing/2014/main" id="{4B939BE8-C982-CFF1-E2DE-66C787D8884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4628"/>
          <a:stretch>
            <a:fillRect/>
          </a:stretch>
        </p:blipFill>
        <p:spPr>
          <a:xfrm>
            <a:off x="6096000" y="0"/>
            <a:ext cx="6735337" cy="6868758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E94E51-DE3D-E052-D929-37022E42F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296970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From Chaos to Organization:</a:t>
            </a:r>
          </a:p>
          <a:p>
            <a:pPr marL="0" indent="0">
              <a:buNone/>
            </a:pPr>
            <a:r>
              <a:rPr lang="de-CH" dirty="0" err="1"/>
              <a:t>Faster</a:t>
            </a:r>
            <a:r>
              <a:rPr lang="de-CH" dirty="0"/>
              <a:t> </a:t>
            </a:r>
            <a:r>
              <a:rPr lang="de-CH" dirty="0" err="1"/>
              <a:t>setup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safe </a:t>
            </a:r>
            <a:r>
              <a:rPr lang="de-CH" dirty="0" err="1"/>
              <a:t>housing</a:t>
            </a:r>
            <a:r>
              <a:rPr lang="de-CH" dirty="0"/>
              <a:t>, </a:t>
            </a:r>
            <a:r>
              <a:rPr lang="de-CH" dirty="0" err="1"/>
              <a:t>fewer</a:t>
            </a:r>
            <a:r>
              <a:rPr lang="de-CH" dirty="0"/>
              <a:t>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purchases</a:t>
            </a:r>
            <a:r>
              <a:rPr lang="de-CH" dirty="0"/>
              <a:t>, transparent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and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resilience</a:t>
            </a:r>
            <a:r>
              <a:rPr lang="de-CH" dirty="0"/>
              <a:t> </a:t>
            </a:r>
            <a:r>
              <a:rPr lang="de-CH" dirty="0" err="1"/>
              <a:t>during</a:t>
            </a:r>
            <a:r>
              <a:rPr lang="de-CH" dirty="0"/>
              <a:t> </a:t>
            </a:r>
            <a:r>
              <a:rPr lang="de-CH" dirty="0" err="1"/>
              <a:t>spike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Built for Cities, Ready for Crisis:</a:t>
            </a:r>
          </a:p>
          <a:p>
            <a:pPr marL="0" indent="0">
              <a:buNone/>
            </a:pPr>
            <a:r>
              <a:rPr lang="en-US" dirty="0"/>
              <a:t>One platform spanning preventive planning and crisis response, aligned with the city’s cross-department model and AOZ’s mission. </a:t>
            </a:r>
          </a:p>
          <a:p>
            <a:pPr marL="0" indent="0">
              <a:buNone/>
            </a:pPr>
            <a:endParaRPr lang="en-US" b="1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CAF3717-CCF9-AFDC-BF7F-EB5BD5679B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61" imgH="257" progId="TCLayout.ActiveDocument.1">
                  <p:embed/>
                </p:oleObj>
              </mc:Choice>
              <mc:Fallback>
                <p:oleObj name="think-cell Folie" r:id="rId5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F3717-CCF9-AFDC-BF7F-EB5BD5679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7E9D73-986D-8D54-03AF-6685AE4EA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mpact &amp; Outlook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6BD2159-D7C3-1802-BC64-1BDA38AF988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EBEABA-E170-7A7E-56C0-A4639563A5F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84968" y="6285630"/>
            <a:ext cx="64120" cy="138499"/>
          </a:xfrm>
        </p:spPr>
        <p:txBody>
          <a:bodyPr/>
          <a:lstStyle/>
          <a:p>
            <a:fld id="{AC23F07A-CEC6-4CA8-9EF8-AC37F6E73B6A}" type="slidenum">
              <a:rPr lang="de-CH" smtClean="0">
                <a:solidFill>
                  <a:schemeClr val="bg1"/>
                </a:solidFill>
              </a:rPr>
              <a:pPr/>
              <a:t>6</a:t>
            </a:fld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4DA55E3-FA25-0D9E-21B1-1497CD991D8E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51368D5-4920-F6CE-B948-93AE2DA59B2D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4600C0E-0549-BAF1-7498-3F5D9CB99236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B9F718A4-C210-E2C4-7C44-59AF54147D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181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E336B-708C-B5A5-AAA9-6245EB1B4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5BE6EA-EC93-E8AB-555B-3BCFA9158F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2412112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olving</a:t>
            </a:r>
            <a:r>
              <a:rPr lang="de-CH" b="1" dirty="0"/>
              <a:t> </a:t>
            </a:r>
            <a:r>
              <a:rPr lang="de-CH" b="1" dirty="0" err="1"/>
              <a:t>coordination</a:t>
            </a:r>
            <a:r>
              <a:rPr lang="de-CH" b="1" dirty="0"/>
              <a:t> </a:t>
            </a:r>
            <a:r>
              <a:rPr lang="de-CH" b="1" dirty="0" err="1"/>
              <a:t>gaps</a:t>
            </a:r>
            <a:r>
              <a:rPr lang="de-CH" b="1" dirty="0"/>
              <a:t> </a:t>
            </a:r>
            <a:r>
              <a:rPr lang="de-CH" b="1" dirty="0" err="1"/>
              <a:t>before</a:t>
            </a:r>
            <a:r>
              <a:rPr lang="de-CH" b="1" dirty="0"/>
              <a:t> </a:t>
            </a:r>
            <a:r>
              <a:rPr lang="de-CH" b="1" dirty="0" err="1"/>
              <a:t>the</a:t>
            </a:r>
            <a:r>
              <a:rPr lang="de-CH" b="1" dirty="0"/>
              <a:t> </a:t>
            </a:r>
            <a:r>
              <a:rPr lang="de-CH" b="1" dirty="0" err="1"/>
              <a:t>next</a:t>
            </a:r>
            <a:r>
              <a:rPr lang="de-CH" b="1" dirty="0"/>
              <a:t> </a:t>
            </a:r>
            <a:r>
              <a:rPr lang="de-CH" b="1" dirty="0" err="1"/>
              <a:t>crisis</a:t>
            </a:r>
            <a:endParaRPr lang="de-CH" b="1" dirty="0"/>
          </a:p>
          <a:p>
            <a:r>
              <a:rPr lang="de-CH" dirty="0" err="1"/>
              <a:t>Buil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real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workflows</a:t>
            </a:r>
            <a:endParaRPr lang="de-CH" dirty="0"/>
          </a:p>
          <a:p>
            <a:r>
              <a:rPr lang="de-CH" dirty="0" err="1"/>
              <a:t>Replaces</a:t>
            </a:r>
            <a:r>
              <a:rPr lang="de-CH" dirty="0"/>
              <a:t> </a:t>
            </a:r>
            <a:r>
              <a:rPr lang="de-CH" dirty="0" err="1"/>
              <a:t>fragmented</a:t>
            </a:r>
            <a:r>
              <a:rPr lang="de-CH" dirty="0"/>
              <a:t> </a:t>
            </a:r>
            <a:r>
              <a:rPr lang="de-CH" dirty="0" err="1"/>
              <a:t>spreadsheets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 </a:t>
            </a:r>
            <a:r>
              <a:rPr lang="de-CH" dirty="0" err="1"/>
              <a:t>unified</a:t>
            </a:r>
            <a:r>
              <a:rPr lang="de-CH" dirty="0"/>
              <a:t> </a:t>
            </a:r>
            <a:r>
              <a:rPr lang="de-CH" dirty="0" err="1"/>
              <a:t>platform</a:t>
            </a:r>
            <a:endParaRPr lang="de-CH" dirty="0"/>
          </a:p>
          <a:p>
            <a:r>
              <a:rPr lang="de-CH" dirty="0" err="1"/>
              <a:t>Connects</a:t>
            </a:r>
            <a:r>
              <a:rPr lang="de-CH" dirty="0"/>
              <a:t> all </a:t>
            </a:r>
            <a:r>
              <a:rPr lang="de-CH" dirty="0" err="1"/>
              <a:t>actors</a:t>
            </a:r>
            <a:r>
              <a:rPr lang="de-CH" dirty="0"/>
              <a:t>: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staff</a:t>
            </a:r>
            <a:r>
              <a:rPr lang="de-CH" dirty="0"/>
              <a:t>, </a:t>
            </a:r>
            <a:r>
              <a:rPr lang="de-CH" dirty="0" err="1"/>
              <a:t>logistics</a:t>
            </a:r>
            <a:r>
              <a:rPr lang="de-CH" dirty="0"/>
              <a:t>, and </a:t>
            </a:r>
            <a:r>
              <a:rPr lang="de-CH" dirty="0" err="1"/>
              <a:t>facilities</a:t>
            </a:r>
            <a:r>
              <a:rPr lang="de-CH" dirty="0"/>
              <a:t> in real-time</a:t>
            </a:r>
          </a:p>
          <a:p>
            <a:r>
              <a:rPr lang="de-CH" dirty="0" err="1"/>
              <a:t>Prevents</a:t>
            </a:r>
            <a:r>
              <a:rPr lang="de-CH" dirty="0"/>
              <a:t> </a:t>
            </a:r>
            <a:r>
              <a:rPr lang="de-CH" dirty="0" err="1"/>
              <a:t>duplication</a:t>
            </a:r>
            <a:r>
              <a:rPr lang="de-CH" dirty="0"/>
              <a:t>, </a:t>
            </a:r>
            <a:r>
              <a:rPr lang="de-CH" dirty="0" err="1"/>
              <a:t>saves</a:t>
            </a:r>
            <a:r>
              <a:rPr lang="de-CH" dirty="0"/>
              <a:t> </a:t>
            </a:r>
            <a:r>
              <a:rPr lang="de-CH" dirty="0" err="1"/>
              <a:t>costs</a:t>
            </a:r>
            <a:r>
              <a:rPr lang="de-CH" dirty="0"/>
              <a:t>, and </a:t>
            </a:r>
            <a:r>
              <a:rPr lang="de-CH" dirty="0" err="1"/>
              <a:t>accelerates</a:t>
            </a:r>
            <a:r>
              <a:rPr lang="de-CH" dirty="0"/>
              <a:t> </a:t>
            </a:r>
            <a:r>
              <a:rPr lang="de-CH" dirty="0" err="1"/>
              <a:t>deployment</a:t>
            </a:r>
            <a:endParaRPr lang="de-CH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98F5174-7382-6B6D-CEE5-34A02DC44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8F5174-7382-6B6D-CEE5-34A02DC44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0CC236-87A9-0703-DEE7-CF3B4FCD8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SupplyHub</a:t>
            </a:r>
            <a:r>
              <a:rPr lang="de-CH" dirty="0"/>
              <a:t>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637AE2B-3EC7-0BB2-79B4-B0F7D7C1BC5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CF941B-BDBB-BF7A-10D3-4A4A3F40780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02F185E-C4E9-9098-98D9-9A49AE14FEA8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7A2CDAF-A9BF-0DFB-E975-DC98A4838F2E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B331554-B8EC-61DC-A677-3E4B3DA07366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pic>
        <p:nvPicPr>
          <p:cNvPr id="4" name="Grafik 3" descr="Ein Bild, das Grafiken, Schrift, Screenshot, Logo enthält.&#10;&#10;KI-generierte Inhalte können fehlerhaft sein.">
            <a:extLst>
              <a:ext uri="{FF2B5EF4-FFF2-40B4-BE49-F238E27FC236}">
                <a16:creationId xmlns:a16="http://schemas.microsoft.com/office/drawing/2014/main" id="{B555F5CF-0941-507C-B772-BE8373D7BF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17637" y="5704858"/>
            <a:ext cx="2283124" cy="152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299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PRESENTATIONDONOTDELETE" val="&lt;?xml version=&quot;1.0&quot; encoding=&quot;UTF-16&quot; standalone=&quot;yes&quot;?&gt;&lt;root reqver=&quot;28224&quot;&gt;&lt;version val=&quot;356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PiKwgxIaWOU4dK9JmZ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aneos Master">
  <a:themeElements>
    <a:clrScheme name="Custom 1">
      <a:dk1>
        <a:srgbClr val="000000"/>
      </a:dk1>
      <a:lt1>
        <a:srgbClr val="FFFFFF"/>
      </a:lt1>
      <a:dk2>
        <a:srgbClr val="FF6600"/>
      </a:dk2>
      <a:lt2>
        <a:srgbClr val="FFFFFF"/>
      </a:lt2>
      <a:accent1>
        <a:srgbClr val="BFD1FF"/>
      </a:accent1>
      <a:accent2>
        <a:srgbClr val="9CABD9"/>
      </a:accent2>
      <a:accent3>
        <a:srgbClr val="7080A8"/>
      </a:accent3>
      <a:accent4>
        <a:srgbClr val="425478"/>
      </a:accent4>
      <a:accent5>
        <a:srgbClr val="142647"/>
      </a:accent5>
      <a:accent6>
        <a:srgbClr val="5D70FF"/>
      </a:accent6>
      <a:hlink>
        <a:srgbClr val="000000"/>
      </a:hlink>
      <a:folHlink>
        <a:srgbClr val="000000"/>
      </a:folHlink>
    </a:clrScheme>
    <a:fontScheme name="Erane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primary black">
      <a:srgbClr val="000000"/>
    </a:custClr>
    <a:custClr name="primary white">
      <a:srgbClr val="FFFFFF"/>
    </a:custClr>
    <a:custClr name="primary orange">
      <a:srgbClr val="FF6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ighlight blue">
      <a:srgbClr val="5D70FF"/>
    </a:custClr>
    <a:custClr name="reliable blue">
      <a:srgbClr val="142647"/>
    </a:custClr>
    <a:custClr name="complex 1">
      <a:srgbClr val="2B3D61"/>
    </a:custClr>
    <a:custClr name="complex 2">
      <a:srgbClr val="425478"/>
    </a:custClr>
    <a:custClr name="complex 3">
      <a:srgbClr val="59698F"/>
    </a:custClr>
    <a:custClr name="complex 4">
      <a:srgbClr val="7080A8"/>
    </a:custClr>
    <a:custClr name="complex 5">
      <a:srgbClr val="8796C2"/>
    </a:custClr>
    <a:custClr name="complex 6">
      <a:srgbClr val="9CABD9"/>
    </a:custClr>
    <a:custClr name="complex 7">
      <a:srgbClr val="B0C2F0"/>
    </a:custClr>
    <a:custClr name="complex 8">
      <a:srgbClr val="BFD1FF"/>
    </a:custClr>
  </a:custClrLst>
  <a:extLst>
    <a:ext uri="{05A4C25C-085E-4340-85A3-A5531E510DB2}">
      <thm15:themeFamily xmlns:thm15="http://schemas.microsoft.com/office/thememl/2012/main" name="2025-02_Eraneos_PPT_Template_MASTER_CH-DE.pptx" id="{BCA2BEF2-B1C0-485A-8700-BC6A5BFF946B}" vid="{C0D62323-9D27-45B4-BCF3-FE2422D271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A6D8FDC799944CBC8F86A5AB815958" ma:contentTypeVersion="3" ma:contentTypeDescription="Ein neues Dokument erstellen." ma:contentTypeScope="" ma:versionID="e86843ccf2f1bf0a32a2d0f03811a5b4">
  <xsd:schema xmlns:xsd="http://www.w3.org/2001/XMLSchema" xmlns:xs="http://www.w3.org/2001/XMLSchema" xmlns:p="http://schemas.microsoft.com/office/2006/metadata/properties" xmlns:ns2="d116af33-48f8-4b7c-a446-ca5bbb8b4143" targetNamespace="http://schemas.microsoft.com/office/2006/metadata/properties" ma:root="true" ma:fieldsID="1c1764e2eec51a1f37b147ff581f5520" ns2:_="">
    <xsd:import namespace="d116af33-48f8-4b7c-a446-ca5bbb8b4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16af33-48f8-4b7c-a446-ca5bbb8b41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AC3800-3F95-41B7-A4C8-A63B667991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16af33-48f8-4b7c-a446-ca5bbb8b41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9B6C760-44BB-42E0-8338-5FA00A756597}">
  <ds:schemaRefs>
    <ds:schemaRef ds:uri="d116af33-48f8-4b7c-a446-ca5bbb8b4143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5001765-27E4-456A-B4EB-BC66E0A64A8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5-02_Eraneos_PPT_Template_MASTER_CH-DE</Template>
  <TotalTime>0</TotalTime>
  <Words>396</Words>
  <Application>Microsoft Macintosh PowerPoint</Application>
  <PresentationFormat>Breitbild</PresentationFormat>
  <Paragraphs>62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Aptos</vt:lpstr>
      <vt:lpstr>Arial</vt:lpstr>
      <vt:lpstr>Calibri</vt:lpstr>
      <vt:lpstr>Tenorite</vt:lpstr>
      <vt:lpstr>Verdana</vt:lpstr>
      <vt:lpstr>Wingdings</vt:lpstr>
      <vt:lpstr>Wingdings 2</vt:lpstr>
      <vt:lpstr>Eraneos Master</vt:lpstr>
      <vt:lpstr>think-cell Folie</vt:lpstr>
      <vt:lpstr>AOZ Challenge: SupplyHub</vt:lpstr>
      <vt:lpstr>Intro</vt:lpstr>
      <vt:lpstr>Anna’s Challenges</vt:lpstr>
      <vt:lpstr>Our Solution</vt:lpstr>
      <vt:lpstr>Demo</vt:lpstr>
      <vt:lpstr>Impact &amp; Outlook</vt:lpstr>
      <vt:lpstr>Why SupplyHub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niel Maksimovic</dc:creator>
  <cp:lastModifiedBy>Daniel Maksimovic</cp:lastModifiedBy>
  <cp:revision>14</cp:revision>
  <dcterms:created xsi:type="dcterms:W3CDTF">2025-02-12T13:47:22Z</dcterms:created>
  <dcterms:modified xsi:type="dcterms:W3CDTF">2025-10-31T23:0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E0A6D8FDC799944CBC8F86A5AB815958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SIP_Label_5c1b442d-183f-4001-b751-6cff64653045_Enabled">
    <vt:lpwstr>true</vt:lpwstr>
  </property>
  <property fmtid="{D5CDD505-2E9C-101B-9397-08002B2CF9AE}" pid="8" name="MSIP_Label_5c1b442d-183f-4001-b751-6cff64653045_SetDate">
    <vt:lpwstr>2025-02-11T06:51:40Z</vt:lpwstr>
  </property>
  <property fmtid="{D5CDD505-2E9C-101B-9397-08002B2CF9AE}" pid="9" name="MSIP_Label_5c1b442d-183f-4001-b751-6cff64653045_Method">
    <vt:lpwstr>Privileged</vt:lpwstr>
  </property>
  <property fmtid="{D5CDD505-2E9C-101B-9397-08002B2CF9AE}" pid="10" name="MSIP_Label_5c1b442d-183f-4001-b751-6cff64653045_Name">
    <vt:lpwstr>NL-Internal</vt:lpwstr>
  </property>
  <property fmtid="{D5CDD505-2E9C-101B-9397-08002B2CF9AE}" pid="11" name="MSIP_Label_5c1b442d-183f-4001-b751-6cff64653045_SiteId">
    <vt:lpwstr>213a6ca3-4808-4047-8aca-814d2cde4474</vt:lpwstr>
  </property>
  <property fmtid="{D5CDD505-2E9C-101B-9397-08002B2CF9AE}" pid="12" name="MSIP_Label_5c1b442d-183f-4001-b751-6cff64653045_ActionId">
    <vt:lpwstr>02521480-43a3-4d65-a6b8-5224c457345b</vt:lpwstr>
  </property>
  <property fmtid="{D5CDD505-2E9C-101B-9397-08002B2CF9AE}" pid="13" name="MSIP_Label_5c1b442d-183f-4001-b751-6cff64653045_ContentBits">
    <vt:lpwstr>2</vt:lpwstr>
  </property>
  <property fmtid="{D5CDD505-2E9C-101B-9397-08002B2CF9AE}" pid="14" name="ClassificationContentMarkingFooterLocations">
    <vt:lpwstr>Eraneos Master:5</vt:lpwstr>
  </property>
  <property fmtid="{D5CDD505-2E9C-101B-9397-08002B2CF9AE}" pid="15" name="ClassificationContentMarkingFooterText">
    <vt:lpwstr>Internal</vt:lpwstr>
  </property>
</Properties>
</file>